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14734938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5" autoAdjust="0"/>
    <p:restoredTop sz="94660"/>
  </p:normalViewPr>
  <p:slideViewPr>
    <p:cSldViewPr snapToGrid="0">
      <p:cViewPr varScale="1">
        <p:scale>
          <a:sx n="77" d="100"/>
          <a:sy n="77" d="100"/>
        </p:scale>
        <p:origin x="84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526416-19E4-BB85-0A16-F287C46CD6F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DA87E25-970E-6965-31E6-C44A7F4E1A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6EE6EF-F879-C779-5B4D-A72F30D6AF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01871-DDAF-401B-92BA-2D1E97EF874C}" type="datetimeFigureOut">
              <a:rPr lang="fr-FR" smtClean="0"/>
              <a:t>02/08/2024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A458B2-5AB1-4AAD-1FE7-103F1B4BAE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D8C10E-335F-F477-FEAC-0458F90D96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7E73B-BD77-42C9-ACF8-3348235B633E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9487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C4C8CD-F4FF-0A02-F54D-3A300EA49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D9AC9EF-7CF2-3577-C96F-B39D0E30976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6612BA-63B9-CCC5-24AB-927A83405C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01871-DDAF-401B-92BA-2D1E97EF874C}" type="datetimeFigureOut">
              <a:rPr lang="fr-FR" smtClean="0"/>
              <a:t>02/08/2024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FEAAA9-E943-E8DC-6E81-4477897608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3DF2EF-6803-FFC8-FA7E-4FB6B83EDB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7E73B-BD77-42C9-ACF8-3348235B633E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311381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A5257C3-327D-E216-C36D-19653722C38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6176A7-C6E2-463A-8EFE-1EAE9384D1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664CDB-E962-DEA9-1FF8-DCF496707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01871-DDAF-401B-92BA-2D1E97EF874C}" type="datetimeFigureOut">
              <a:rPr lang="fr-FR" smtClean="0"/>
              <a:t>02/08/2024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0DA703-38A9-25E8-FBCE-1926CCD6B4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79ED9B-2628-81FB-D128-2DC5FF923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7E73B-BD77-42C9-ACF8-3348235B633E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51119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2D5ABE5D-6953-1E36-8DDF-7F7F93005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634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2D5ABE5D-6953-1E36-8DDF-7F7F93005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65368E8C-E5C4-499C-8981-53DA9D0D91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6" y="556260"/>
            <a:ext cx="5350626" cy="206870"/>
          </a:xfrm>
        </p:spPr>
        <p:txBody>
          <a:bodyPr/>
          <a:lstStyle>
            <a:lvl1pPr marL="0" indent="0" rtl="0">
              <a:buNone/>
              <a:defRPr sz="1100" b="1" cap="all" spc="300" baseline="0">
                <a:solidFill>
                  <a:schemeClr val="tx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1458247-F4F7-451E-9395-E476BBB420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666" y="830580"/>
            <a:ext cx="5350626" cy="521142"/>
          </a:xfrm>
        </p:spPr>
        <p:txBody>
          <a:bodyPr vert="horz"/>
          <a:lstStyle>
            <a:lvl1pPr rtl="0">
              <a:defRPr sz="36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en-US"/>
              <a:t>Master title styl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276E2FF-9FA2-46B7-9ED2-C145B898ED8E}"/>
              </a:ext>
            </a:extLst>
          </p:cNvPr>
          <p:cNvSpPr/>
          <p:nvPr userDrawn="1"/>
        </p:nvSpPr>
        <p:spPr>
          <a:xfrm>
            <a:off x="641666" y="331085"/>
            <a:ext cx="550001" cy="72000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spAutoFit/>
          </a:bodyPr>
          <a:lstStyle/>
          <a:p>
            <a:pPr algn="ctr" rtl="0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6">
            <a:extLst>
              <a:ext uri="{FF2B5EF4-FFF2-40B4-BE49-F238E27FC236}">
                <a16:creationId xmlns:a16="http://schemas.microsoft.com/office/drawing/2014/main" id="{36F3A566-3714-47E0-BA38-D962DD69F89A}"/>
              </a:ext>
            </a:extLst>
          </p:cNvPr>
          <p:cNvSpPr txBox="1"/>
          <p:nvPr userDrawn="1"/>
        </p:nvSpPr>
        <p:spPr>
          <a:xfrm>
            <a:off x="5210801" y="6590927"/>
            <a:ext cx="1770397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/>
            <a:r>
              <a:rPr lang="en-US" sz="900" noProof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fidential &amp; Proprietary</a:t>
            </a:r>
          </a:p>
        </p:txBody>
      </p:sp>
      <p:pic>
        <p:nvPicPr>
          <p:cNvPr id="2" name="Graphique 1">
            <a:extLst>
              <a:ext uri="{FF2B5EF4-FFF2-40B4-BE49-F238E27FC236}">
                <a16:creationId xmlns:a16="http://schemas.microsoft.com/office/drawing/2014/main" id="{4A652660-342F-27E4-8867-6B2CBBDF613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691" y="6462698"/>
            <a:ext cx="921600" cy="316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351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51E6E2-0E5F-26C3-BEA1-56966C726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D0453F-96D0-3C66-212E-BD440CA003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924CB4-E1DF-3F11-7862-4F0C1DFB99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01871-DDAF-401B-92BA-2D1E97EF874C}" type="datetimeFigureOut">
              <a:rPr lang="fr-FR" smtClean="0"/>
              <a:t>02/08/2024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A614EC-7662-3E72-EE20-8853605DE8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CD755C-3818-D180-7539-865DD27337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7E73B-BD77-42C9-ACF8-3348235B633E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0170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E83D45-A80A-7D49-8E54-29D4E0D9CE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E79CE0-2AC2-2A01-BE54-25B41B225A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FB03D1-408B-7119-E407-E226A270A0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01871-DDAF-401B-92BA-2D1E97EF874C}" type="datetimeFigureOut">
              <a:rPr lang="fr-FR" smtClean="0"/>
              <a:t>02/08/2024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9B3FCB-BC6D-3871-B3DE-7D13A32CF7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1681C5-FF4D-E94B-4025-9F845EB8C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7E73B-BD77-42C9-ACF8-3348235B633E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61319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243970-8790-1478-79BB-06C812E511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CB1771-407A-2910-8EF6-57B1E56792F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2E563C-68AA-D6DD-9901-08712BD71BB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B3E1BA-6319-1E04-37CF-659EA06B2B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01871-DDAF-401B-92BA-2D1E97EF874C}" type="datetimeFigureOut">
              <a:rPr lang="fr-FR" smtClean="0"/>
              <a:t>02/08/2024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0349A1-F5D5-2956-2274-9A668CA558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7CB31F-1F51-65FF-AE88-FAD2D889B9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7E73B-BD77-42C9-ACF8-3348235B633E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62445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9FAEDC-134A-E792-98FD-62AD4097C6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52ED9E-7A70-DEB2-6DF5-7AE0514FFB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FFD4276-3F02-8161-25B2-D8E8AF30E4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FAA9B31-AC25-5667-BB84-43F603A2D84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2BC5CF4-C5BB-FFF5-D695-56B4CAAA463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0DDFF2-561D-C889-5544-DA70F2E89C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01871-DDAF-401B-92BA-2D1E97EF874C}" type="datetimeFigureOut">
              <a:rPr lang="fr-FR" smtClean="0"/>
              <a:t>02/08/2024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B02DC46-4688-532C-CF57-392C35650D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23910F9-1175-276A-725D-E8DD3B9728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7E73B-BD77-42C9-ACF8-3348235B633E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47886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E5BE3B-EDF0-B502-B940-9023B64C3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DB960B-5713-FD11-EE23-AF04C5EAAE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01871-DDAF-401B-92BA-2D1E97EF874C}" type="datetimeFigureOut">
              <a:rPr lang="fr-FR" smtClean="0"/>
              <a:t>02/08/2024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DC6A6C-9402-145F-A023-ECBF64116B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F09BEFF-5379-2EFB-C75D-34CF10200E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7E73B-BD77-42C9-ACF8-3348235B633E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39912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285A0B9-D005-71A8-1657-8B76AAD1B9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01871-DDAF-401B-92BA-2D1E97EF874C}" type="datetimeFigureOut">
              <a:rPr lang="fr-FR" smtClean="0"/>
              <a:t>02/08/2024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E33215-2EA3-401B-9283-184116478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FDF461-C1E6-ECE2-5F3E-10B7EAFD0A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7E73B-BD77-42C9-ACF8-3348235B633E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39773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1CC45D-E44D-9F76-E76A-B57BC2D98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16861E-5F49-44EE-6629-0180CC4ECC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D709F3-9381-E9AC-F852-081DBEA6E9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F3DF61-BF3B-78E9-C8BE-5740FCE059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01871-DDAF-401B-92BA-2D1E97EF874C}" type="datetimeFigureOut">
              <a:rPr lang="fr-FR" smtClean="0"/>
              <a:t>02/08/2024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D1C906-D4D3-65B5-0111-FB52D7D9D6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31650A4-21EE-7598-761B-907835E1F4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7E73B-BD77-42C9-ACF8-3348235B633E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057861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B910BE-1E31-381A-9BE0-A0E01C5F67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2F6782B-5B7B-3737-9B36-5AD1B119237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B90A12-1905-7188-C126-986F2D0EDE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91F0FEB-28D2-2F44-B5DA-D432E4A757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01871-DDAF-401B-92BA-2D1E97EF874C}" type="datetimeFigureOut">
              <a:rPr lang="fr-FR" smtClean="0"/>
              <a:t>02/08/2024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9A814A-2814-3A90-D1DD-38CB05318E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901498-D758-83A8-6E0D-EC2973DA6B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7E73B-BD77-42C9-ACF8-3348235B633E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692668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876341D-40F1-B659-5529-F9AE86BBC9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BD7C92-D837-DC4B-3931-95D041A491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6E753B-1B9C-0BBA-61D1-1C821531B8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9301871-DDAF-401B-92BA-2D1E97EF874C}" type="datetimeFigureOut">
              <a:rPr lang="fr-FR" smtClean="0"/>
              <a:t>02/08/2024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AAC2A7-CC1C-BA3D-A22D-A843D0EBA0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C044A6-F697-E368-E7AA-944E4FDEE6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D57E73B-BD77-42C9-ACF8-3348235B633E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8047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1E220303-6613-E2F0-90F2-C34FD851C9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1E220303-6613-E2F0-90F2-C34FD851C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7F6B91E-5CB2-D639-850D-5E5B0485C6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sz="1100" b="1" cap="all" spc="300">
                <a:solidFill>
                  <a:schemeClr val="tx2"/>
                </a:solidFill>
              </a:rPr>
              <a:t>PRODUCT LINE HVAC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D87721E8-7281-E00D-801F-9657AE8246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fr-FR" dirty="0" err="1"/>
              <a:t>Footprint</a:t>
            </a:r>
          </a:p>
        </p:txBody>
      </p:sp>
      <p:pic>
        <p:nvPicPr>
          <p:cNvPr id="7" name="Picture 335" descr="https://upload.wikimedia.org/wikipedia/commons/thumb/e/ec/World_map_blank_without_borders.svg/4378px-World_map_blank_without_borders.svg.png">
            <a:extLst>
              <a:ext uri="{FF2B5EF4-FFF2-40B4-BE49-F238E27FC236}">
                <a16:creationId xmlns:a16="http://schemas.microsoft.com/office/drawing/2014/main" id="{A5DA812D-4B48-D7DB-86F8-E61C436EB9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1525193" y="2146028"/>
            <a:ext cx="9110254" cy="4295775"/>
          </a:xfrm>
          <a:prstGeom prst="rect">
            <a:avLst/>
          </a:prstGeom>
          <a:noFill/>
          <a:ln w="3175">
            <a:noFill/>
          </a:ln>
        </p:spPr>
      </p:pic>
      <p:sp>
        <p:nvSpPr>
          <p:cNvPr id="9" name="Ellipse 8">
            <a:extLst>
              <a:ext uri="{FF2B5EF4-FFF2-40B4-BE49-F238E27FC236}">
                <a16:creationId xmlns:a16="http://schemas.microsoft.com/office/drawing/2014/main" id="{C3D073A0-B3FC-ADBC-A0BA-4227F6319016}"/>
              </a:ext>
            </a:extLst>
          </p:cNvPr>
          <p:cNvSpPr/>
          <p:nvPr/>
        </p:nvSpPr>
        <p:spPr>
          <a:xfrm>
            <a:off x="3815045" y="3318131"/>
            <a:ext cx="90000" cy="90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/>
          </a:p>
        </p:txBody>
      </p:sp>
      <p:graphicFrame>
        <p:nvGraphicFramePr>
          <p:cNvPr id="10" name="Tableau 11">
            <a:extLst>
              <a:ext uri="{FF2B5EF4-FFF2-40B4-BE49-F238E27FC236}">
                <a16:creationId xmlns:a16="http://schemas.microsoft.com/office/drawing/2014/main" id="{45D11EBD-9050-C49B-874B-34ACE03BBD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2999498"/>
              </p:ext>
            </p:extLst>
          </p:nvPr>
        </p:nvGraphicFramePr>
        <p:xfrm>
          <a:off x="1398297" y="1672399"/>
          <a:ext cx="1728191" cy="7825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81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7717">
                <a:tc>
                  <a:txBody>
                    <a:bodyPr/>
                    <a:lstStyle/>
                    <a:p>
                      <a:pPr algn="l"/>
                      <a:r>
                        <a:rPr lang="fr-FR" sz="1100" dirty="0" err="1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</a:rPr>
                        <a:t>Vapor</a:t>
                      </a:r>
                      <a:r>
                        <a:rPr lang="fr-FR" sz="11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</a:rPr>
                        <a:t> Rail</a:t>
                      </a:r>
                      <a:endParaRPr lang="fr-FR" sz="11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</a:endParaRPr>
                    </a:p>
                  </a:txBody>
                  <a:tcPr marL="7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lvl="0" algn="l" defTabSz="914400" rtl="0" eaLnBrk="1" fontAlgn="b" latinLnBrk="0" hangingPunct="1"/>
                      <a:r>
                        <a:rPr lang="fr-FR" sz="1000" b="1" i="0" u="none" strike="noStrike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Location: </a:t>
                      </a:r>
                      <a:r>
                        <a:rPr lang="fr-FR" sz="1000" b="0" i="0" u="none" strike="noStrike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Plattsburgh</a:t>
                      </a:r>
                    </a:p>
                  </a:txBody>
                  <a:tcPr marL="7200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lvl="0" algn="l" defTabSz="914400" rtl="0" eaLnBrk="1" fontAlgn="b" latinLnBrk="0" hangingPunct="1"/>
                      <a:r>
                        <a:rPr lang="fr-FR" sz="1000" b="1" i="0" u="none" strike="noStrike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Type of site: </a:t>
                      </a:r>
                      <a:r>
                        <a:rPr lang="fr-FR" sz="1000" b="0" i="0" u="none" strike="noStrike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nufacturing</a:t>
                      </a:r>
                      <a:r>
                        <a:rPr lang="fr-FR" sz="1000" b="0" i="0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(</a:t>
                      </a:r>
                      <a:r>
                        <a:rPr lang="fr-FR" sz="1000" b="0" i="0" u="none" strike="noStrike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Engineering)</a:t>
                      </a:r>
                      <a:endParaRPr lang="fr-FR" sz="1000" b="0" i="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11" name="Connecteur droit 12">
            <a:extLst>
              <a:ext uri="{FF2B5EF4-FFF2-40B4-BE49-F238E27FC236}">
                <a16:creationId xmlns:a16="http://schemas.microsoft.com/office/drawing/2014/main" id="{561F9447-89EE-F99B-CF6D-9C7B999C66CA}"/>
              </a:ext>
            </a:extLst>
          </p:cNvPr>
          <p:cNvCxnSpPr>
            <a:cxnSpLocks/>
            <a:stCxn id="10" idx="3"/>
            <a:endCxn id="9" idx="0"/>
          </p:cNvCxnSpPr>
          <p:nvPr/>
        </p:nvCxnSpPr>
        <p:spPr>
          <a:xfrm>
            <a:off x="3126488" y="2063657"/>
            <a:ext cx="733557" cy="1254474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llipse 11">
            <a:extLst>
              <a:ext uri="{FF2B5EF4-FFF2-40B4-BE49-F238E27FC236}">
                <a16:creationId xmlns:a16="http://schemas.microsoft.com/office/drawing/2014/main" id="{012A3B21-1EEA-111C-3741-53531CD58B40}"/>
              </a:ext>
            </a:extLst>
          </p:cNvPr>
          <p:cNvSpPr/>
          <p:nvPr/>
        </p:nvSpPr>
        <p:spPr>
          <a:xfrm>
            <a:off x="7709839" y="4166155"/>
            <a:ext cx="90000" cy="90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0F2C4EFE-2824-10FE-49B9-B2E0CD940850}"/>
              </a:ext>
            </a:extLst>
          </p:cNvPr>
          <p:cNvSpPr/>
          <p:nvPr/>
        </p:nvSpPr>
        <p:spPr>
          <a:xfrm>
            <a:off x="8763239" y="3689395"/>
            <a:ext cx="90000" cy="90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32D71A79-FFA7-0AEA-A5E8-EF448093B7D7}"/>
              </a:ext>
            </a:extLst>
          </p:cNvPr>
          <p:cNvSpPr/>
          <p:nvPr/>
        </p:nvSpPr>
        <p:spPr>
          <a:xfrm>
            <a:off x="5882919" y="3113331"/>
            <a:ext cx="90000" cy="90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/>
          </a:p>
        </p:txBody>
      </p:sp>
      <p:graphicFrame>
        <p:nvGraphicFramePr>
          <p:cNvPr id="15" name="Tableau 19">
            <a:extLst>
              <a:ext uri="{FF2B5EF4-FFF2-40B4-BE49-F238E27FC236}">
                <a16:creationId xmlns:a16="http://schemas.microsoft.com/office/drawing/2014/main" id="{C1CDEA36-0743-CE15-480D-2AAAE87A2B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8767793"/>
              </p:ext>
            </p:extLst>
          </p:nvPr>
        </p:nvGraphicFramePr>
        <p:xfrm>
          <a:off x="6606767" y="5526882"/>
          <a:ext cx="1576640" cy="7008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66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24">
                <a:tc>
                  <a:txBody>
                    <a:bodyPr/>
                    <a:lstStyle/>
                    <a:p>
                      <a:pPr algn="l"/>
                      <a:r>
                        <a:rPr lang="fr-FR" sz="11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</a:rPr>
                        <a:t>FT INDIA/</a:t>
                      </a:r>
                      <a:r>
                        <a:rPr lang="fr-FR" sz="1100" dirty="0" err="1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</a:rPr>
                        <a:t>Witec</a:t>
                      </a:r>
                      <a:endParaRPr lang="fr-FR" sz="11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</a:endParaRPr>
                    </a:p>
                  </a:txBody>
                  <a:tcPr marL="7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lvl="0" algn="l" defTabSz="914400" rtl="0" eaLnBrk="1" fontAlgn="b" latinLnBrk="0" hangingPunct="1"/>
                      <a:r>
                        <a:rPr lang="fr-FR" sz="1000" b="1" i="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Location:</a:t>
                      </a:r>
                      <a:r>
                        <a:rPr lang="fr-FR" sz="1000" b="1" i="0" u="none" strike="noStrike" kern="1200" baseline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000" b="0" i="0" u="none" strike="noStrike" kern="120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Hosur</a:t>
                      </a:r>
                      <a:r>
                        <a:rPr lang="fr-FR" sz="1000" b="0" i="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(IN)</a:t>
                      </a:r>
                    </a:p>
                  </a:txBody>
                  <a:tcPr marL="7200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lvl="0" algn="l" defTabSz="914400" rtl="0" eaLnBrk="1" fontAlgn="b" latinLnBrk="0" hangingPunct="1"/>
                      <a:r>
                        <a:rPr lang="fr-FR" sz="1000" b="1" i="0" u="none" strike="noStrike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Type</a:t>
                      </a:r>
                      <a:r>
                        <a:rPr lang="fr-FR" sz="1000" b="1" i="0" u="none" strike="noStrike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of site</a:t>
                      </a:r>
                      <a:r>
                        <a:rPr lang="fr-FR" sz="1000" b="1" i="0" u="none" strike="noStrike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:</a:t>
                      </a:r>
                      <a:r>
                        <a:rPr lang="fr-FR" sz="1000" b="1" i="0" u="none" strike="noStrike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000" b="0" i="0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gineering, </a:t>
                      </a:r>
                      <a:r>
                        <a:rPr lang="fr-FR" sz="1000" b="0" i="0" u="none" strike="noStrike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nufacturing</a:t>
                      </a:r>
                      <a:endParaRPr lang="fr-FR" sz="1000" b="0" i="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16" name="Connecteur droit 20">
            <a:extLst>
              <a:ext uri="{FF2B5EF4-FFF2-40B4-BE49-F238E27FC236}">
                <a16:creationId xmlns:a16="http://schemas.microsoft.com/office/drawing/2014/main" id="{6CC69B3D-A30D-105A-6DAC-DBB6638A067B}"/>
              </a:ext>
            </a:extLst>
          </p:cNvPr>
          <p:cNvCxnSpPr>
            <a:cxnSpLocks/>
            <a:stCxn id="12" idx="4"/>
          </p:cNvCxnSpPr>
          <p:nvPr/>
        </p:nvCxnSpPr>
        <p:spPr>
          <a:xfrm>
            <a:off x="7754839" y="4256155"/>
            <a:ext cx="400100" cy="1463002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llipse 16">
            <a:extLst>
              <a:ext uri="{FF2B5EF4-FFF2-40B4-BE49-F238E27FC236}">
                <a16:creationId xmlns:a16="http://schemas.microsoft.com/office/drawing/2014/main" id="{7D841D3C-22BB-2A0A-3F37-E89836F2301B}"/>
              </a:ext>
            </a:extLst>
          </p:cNvPr>
          <p:cNvSpPr/>
          <p:nvPr/>
        </p:nvSpPr>
        <p:spPr>
          <a:xfrm>
            <a:off x="6040007" y="3068619"/>
            <a:ext cx="90000" cy="90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44D79442-F7B6-32D5-5815-830D1AD21738}"/>
              </a:ext>
            </a:extLst>
          </p:cNvPr>
          <p:cNvSpPr/>
          <p:nvPr/>
        </p:nvSpPr>
        <p:spPr>
          <a:xfrm>
            <a:off x="6170951" y="3113331"/>
            <a:ext cx="90000" cy="90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/>
          </a:p>
        </p:txBody>
      </p:sp>
      <p:graphicFrame>
        <p:nvGraphicFramePr>
          <p:cNvPr id="19" name="Tableau 23">
            <a:extLst>
              <a:ext uri="{FF2B5EF4-FFF2-40B4-BE49-F238E27FC236}">
                <a16:creationId xmlns:a16="http://schemas.microsoft.com/office/drawing/2014/main" id="{535B0B37-3E11-CECA-A4F3-1CC9214279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2304526"/>
              </p:ext>
            </p:extLst>
          </p:nvPr>
        </p:nvGraphicFramePr>
        <p:xfrm>
          <a:off x="8955545" y="3860743"/>
          <a:ext cx="1584176" cy="7008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41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24">
                <a:tc>
                  <a:txBody>
                    <a:bodyPr/>
                    <a:lstStyle/>
                    <a:p>
                      <a:pPr algn="l"/>
                      <a:r>
                        <a:rPr lang="fr-FR" sz="110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</a:rPr>
                        <a:t>FMT</a:t>
                      </a:r>
                    </a:p>
                  </a:txBody>
                  <a:tcPr marL="7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lvl="0" algn="l" defTabSz="914400" rtl="0" eaLnBrk="1" fontAlgn="b" latinLnBrk="0" hangingPunct="1"/>
                      <a:r>
                        <a:rPr lang="fr-FR" sz="1000" b="1" i="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Location:</a:t>
                      </a:r>
                      <a:r>
                        <a:rPr lang="fr-FR" sz="1000" b="1" i="0" u="none" strike="noStrike" kern="1200" baseline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000" b="0" i="0" u="none" strike="noStrike" kern="1200" baseline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hanghai (CN)</a:t>
                      </a:r>
                      <a:endParaRPr lang="fr-FR" sz="1000" b="0" i="0" u="none" strike="noStrike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lvl="0" algn="l" defTabSz="914400" rtl="0" eaLnBrk="1" fontAlgn="b" latinLnBrk="0" hangingPunct="1"/>
                      <a:r>
                        <a:rPr lang="fr-FR" sz="1000" b="1" i="0" u="none" strike="noStrike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Type</a:t>
                      </a:r>
                      <a:r>
                        <a:rPr lang="fr-FR" sz="1000" b="1" i="0" u="none" strike="noStrike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of site</a:t>
                      </a:r>
                      <a:r>
                        <a:rPr lang="fr-FR" sz="1000" b="1" i="0" u="none" strike="noStrike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:</a:t>
                      </a:r>
                      <a:r>
                        <a:rPr lang="fr-FR" sz="1000" b="1" i="0" u="none" strike="noStrike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gineering, </a:t>
                      </a:r>
                      <a:r>
                        <a:rPr lang="fr-FR" sz="10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nufacturing</a:t>
                      </a:r>
                      <a:endParaRPr lang="fr-FR" sz="1000" b="0" i="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20" name="Connecteur droit 24">
            <a:extLst>
              <a:ext uri="{FF2B5EF4-FFF2-40B4-BE49-F238E27FC236}">
                <a16:creationId xmlns:a16="http://schemas.microsoft.com/office/drawing/2014/main" id="{C272223F-F5C6-D20A-ACE6-D1E4CE5DF7E2}"/>
              </a:ext>
            </a:extLst>
          </p:cNvPr>
          <p:cNvCxnSpPr>
            <a:cxnSpLocks/>
            <a:stCxn id="13" idx="0"/>
          </p:cNvCxnSpPr>
          <p:nvPr/>
        </p:nvCxnSpPr>
        <p:spPr>
          <a:xfrm>
            <a:off x="8808239" y="3689395"/>
            <a:ext cx="147306" cy="36608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1" name="Tableau 25">
            <a:extLst>
              <a:ext uri="{FF2B5EF4-FFF2-40B4-BE49-F238E27FC236}">
                <a16:creationId xmlns:a16="http://schemas.microsoft.com/office/drawing/2014/main" id="{44C44351-DC83-DB42-18D1-DAAE3841F3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8522612"/>
              </p:ext>
            </p:extLst>
          </p:nvPr>
        </p:nvGraphicFramePr>
        <p:xfrm>
          <a:off x="4090255" y="3318131"/>
          <a:ext cx="1576640" cy="7008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66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24">
                <a:tc>
                  <a:txBody>
                    <a:bodyPr/>
                    <a:lstStyle/>
                    <a:p>
                      <a:pPr algn="l"/>
                      <a:r>
                        <a:rPr lang="fr-FR" sz="110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</a:rPr>
                        <a:t>FT</a:t>
                      </a:r>
                      <a:r>
                        <a:rPr lang="fr-FR" sz="1100" baseline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</a:rPr>
                        <a:t> NSF</a:t>
                      </a:r>
                      <a:endParaRPr lang="fr-FR" sz="110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</a:endParaRPr>
                    </a:p>
                  </a:txBody>
                  <a:tcPr marL="7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rgbClr val="5C8E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lvl="0" algn="l" defTabSz="914400" rtl="0" eaLnBrk="1" fontAlgn="b" latinLnBrk="0" hangingPunct="1"/>
                      <a:r>
                        <a:rPr lang="fr-FR" sz="1000" b="1" i="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Location:</a:t>
                      </a:r>
                      <a:r>
                        <a:rPr lang="fr-FR" sz="1000" b="1" i="0" u="none" strike="noStrike" kern="1200" baseline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000" b="0" i="0" u="none" strike="noStrike" kern="1200" baseline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Lille (FR)</a:t>
                      </a:r>
                      <a:endParaRPr lang="fr-FR" sz="1000" b="0" i="0" u="none" strike="noStrike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C8E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lvl="0" algn="l" defTabSz="914400" rtl="0" eaLnBrk="1" fontAlgn="b" latinLnBrk="0" hangingPunct="1"/>
                      <a:r>
                        <a:rPr lang="fr-FR" sz="1000" b="1" i="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Type</a:t>
                      </a:r>
                      <a:r>
                        <a:rPr lang="fr-FR" sz="1000" b="1" i="0" u="none" strike="noStrike" kern="1200" baseline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of site</a:t>
                      </a:r>
                      <a:r>
                        <a:rPr lang="fr-FR" sz="1000" b="1" i="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:</a:t>
                      </a:r>
                      <a:r>
                        <a:rPr lang="fr-FR" sz="1000" b="1" i="0" u="none" strike="noStrike" kern="1200" baseline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000" b="0" i="0" u="none" strike="noStrike" kern="1200" baseline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Front office, </a:t>
                      </a:r>
                      <a:r>
                        <a:rPr lang="fr-FR" sz="1000" b="0" i="0" u="none" strike="noStrike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gineering</a:t>
                      </a:r>
                    </a:p>
                  </a:txBody>
                  <a:tcPr marL="7200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2" name="Tableau 26">
            <a:extLst>
              <a:ext uri="{FF2B5EF4-FFF2-40B4-BE49-F238E27FC236}">
                <a16:creationId xmlns:a16="http://schemas.microsoft.com/office/drawing/2014/main" id="{7F7841BE-CE07-35A9-5EF7-07FDDF2B2C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0371272"/>
              </p:ext>
            </p:extLst>
          </p:nvPr>
        </p:nvGraphicFramePr>
        <p:xfrm>
          <a:off x="7539103" y="1745179"/>
          <a:ext cx="1792664" cy="7998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26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0034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fr-FR" sz="1100" b="1" kern="120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FT PLZ</a:t>
                      </a:r>
                    </a:p>
                  </a:txBody>
                  <a:tcPr marL="7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rgbClr val="5C8E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5003">
                <a:tc>
                  <a:txBody>
                    <a:bodyPr/>
                    <a:lstStyle/>
                    <a:p>
                      <a:pPr marL="0" lvl="0" algn="l" defTabSz="914400" rtl="0" eaLnBrk="1" fontAlgn="b" latinLnBrk="0" hangingPunct="1"/>
                      <a:r>
                        <a:rPr lang="fr-FR" sz="1000" b="1" i="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Location:</a:t>
                      </a:r>
                      <a:r>
                        <a:rPr lang="fr-FR" sz="1000" b="1" i="0" u="none" strike="noStrike" kern="1200" baseline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000" b="0" i="0" u="none" strike="noStrike" kern="1200" baseline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Pilsen (CZ)</a:t>
                      </a:r>
                      <a:endParaRPr lang="fr-FR" sz="1000" b="0" i="0" u="none" strike="noStrike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C8E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5003">
                <a:tc>
                  <a:txBody>
                    <a:bodyPr/>
                    <a:lstStyle/>
                    <a:p>
                      <a:pPr marL="0" lvl="0" algn="l" defTabSz="914400" rtl="0" eaLnBrk="1" fontAlgn="b" latinLnBrk="0" hangingPunct="1"/>
                      <a:r>
                        <a:rPr lang="fr-FR" sz="1000" b="1" i="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Type</a:t>
                      </a:r>
                      <a:r>
                        <a:rPr lang="fr-FR" sz="1000" b="1" i="0" u="none" strike="noStrike" kern="1200" baseline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of site</a:t>
                      </a:r>
                      <a:r>
                        <a:rPr lang="fr-FR" sz="1000" b="1" i="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:</a:t>
                      </a:r>
                      <a:r>
                        <a:rPr lang="fr-FR" sz="1000" b="1" i="0" u="none" strike="noStrike" kern="1200" baseline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000" b="0" i="0" u="none" strike="noStrike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nufacturing</a:t>
                      </a:r>
                      <a:r>
                        <a:rPr lang="fr-FR" sz="1000" b="0" i="0" u="none" strike="noStrike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Engineering</a:t>
                      </a:r>
                    </a:p>
                  </a:txBody>
                  <a:tcPr marL="7200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3" name="Tableau 27">
            <a:extLst>
              <a:ext uri="{FF2B5EF4-FFF2-40B4-BE49-F238E27FC236}">
                <a16:creationId xmlns:a16="http://schemas.microsoft.com/office/drawing/2014/main" id="{95EAD661-F316-B73B-D750-E89332D9E0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2240953"/>
              </p:ext>
            </p:extLst>
          </p:nvPr>
        </p:nvGraphicFramePr>
        <p:xfrm>
          <a:off x="4142503" y="1175525"/>
          <a:ext cx="1936680" cy="8532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36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24">
                <a:tc>
                  <a:txBody>
                    <a:bodyPr/>
                    <a:lstStyle/>
                    <a:p>
                      <a:pPr algn="l"/>
                      <a:r>
                        <a:rPr lang="fr-FR" sz="11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FT LEIPZIG</a:t>
                      </a:r>
                    </a:p>
                  </a:txBody>
                  <a:tcPr marL="7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rgbClr val="5C8E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lvl="0" algn="l" defTabSz="914400" rtl="0" eaLnBrk="1" fontAlgn="b" latinLnBrk="0" hangingPunct="1"/>
                      <a:r>
                        <a:rPr lang="fr-FR" sz="1000" b="1" i="0" u="none" strike="noStrike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Location:</a:t>
                      </a:r>
                      <a:r>
                        <a:rPr lang="fr-FR" sz="1000" b="1" i="0" u="none" strike="noStrike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000" b="0" i="0" u="none" strike="noStrike" kern="1200" baseline="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chkeuditz</a:t>
                      </a:r>
                      <a:r>
                        <a:rPr lang="fr-FR" sz="1000" b="0" i="0" u="none" strike="noStrike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(DE)</a:t>
                      </a:r>
                      <a:endParaRPr lang="fr-FR" sz="1000" b="0" i="0" u="none" strike="noStrike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C8E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lvl="0" algn="l" rtl="0" eaLnBrk="1" fontAlgn="b" latinLnBrk="0" hangingPunct="1"/>
                      <a:r>
                        <a:rPr lang="fr-FR" sz="1000" b="1" i="0" u="none" strike="noStrike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Type</a:t>
                      </a:r>
                      <a:r>
                        <a:rPr lang="fr-FR" sz="1000" b="1" i="0" u="none" strike="noStrike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of site</a:t>
                      </a:r>
                      <a:r>
                        <a:rPr lang="fr-FR" sz="1000" b="1" i="0" u="none" strike="noStrike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: Global Center of </a:t>
                      </a:r>
                      <a:r>
                        <a:rPr lang="fr-FR" sz="1000" b="1" i="0" u="none" strike="noStrike" kern="120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Competences</a:t>
                      </a:r>
                      <a:r>
                        <a:rPr lang="fr-FR" sz="1000" b="1" i="0" u="none" strike="noStrike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 </a:t>
                      </a:r>
                      <a:r>
                        <a:rPr lang="fr-FR" sz="1000" b="0" i="0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gineering, </a:t>
                      </a:r>
                      <a:r>
                        <a:rPr lang="fr-FR" sz="1000" b="0" i="0" u="none" strike="noStrike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nufacturing</a:t>
                      </a:r>
                      <a:endParaRPr lang="fr-FR" sz="1000" b="0" i="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24" name="Connecteur droit 28">
            <a:extLst>
              <a:ext uri="{FF2B5EF4-FFF2-40B4-BE49-F238E27FC236}">
                <a16:creationId xmlns:a16="http://schemas.microsoft.com/office/drawing/2014/main" id="{3DF23B35-7C6E-FA68-28E9-70E27A05F7C0}"/>
              </a:ext>
            </a:extLst>
          </p:cNvPr>
          <p:cNvCxnSpPr>
            <a:cxnSpLocks/>
            <a:endCxn id="17" idx="0"/>
          </p:cNvCxnSpPr>
          <p:nvPr/>
        </p:nvCxnSpPr>
        <p:spPr>
          <a:xfrm>
            <a:off x="6085007" y="1468101"/>
            <a:ext cx="0" cy="1600518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29">
            <a:extLst>
              <a:ext uri="{FF2B5EF4-FFF2-40B4-BE49-F238E27FC236}">
                <a16:creationId xmlns:a16="http://schemas.microsoft.com/office/drawing/2014/main" id="{AB2EE3DD-735F-AC91-8A88-799BFAE43DAF}"/>
              </a:ext>
            </a:extLst>
          </p:cNvPr>
          <p:cNvCxnSpPr>
            <a:cxnSpLocks/>
            <a:endCxn id="14" idx="3"/>
          </p:cNvCxnSpPr>
          <p:nvPr/>
        </p:nvCxnSpPr>
        <p:spPr>
          <a:xfrm flipV="1">
            <a:off x="5666895" y="3190151"/>
            <a:ext cx="229204" cy="355228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30">
            <a:extLst>
              <a:ext uri="{FF2B5EF4-FFF2-40B4-BE49-F238E27FC236}">
                <a16:creationId xmlns:a16="http://schemas.microsoft.com/office/drawing/2014/main" id="{D4F35EC2-4776-13DB-5DDB-BACCCAF59A96}"/>
              </a:ext>
            </a:extLst>
          </p:cNvPr>
          <p:cNvCxnSpPr>
            <a:cxnSpLocks/>
            <a:endCxn id="18" idx="7"/>
          </p:cNvCxnSpPr>
          <p:nvPr/>
        </p:nvCxnSpPr>
        <p:spPr>
          <a:xfrm flipH="1">
            <a:off x="6247771" y="2033211"/>
            <a:ext cx="1291332" cy="1093300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Ellipse 26">
            <a:extLst>
              <a:ext uri="{FF2B5EF4-FFF2-40B4-BE49-F238E27FC236}">
                <a16:creationId xmlns:a16="http://schemas.microsoft.com/office/drawing/2014/main" id="{5111DC90-2906-A9F4-8519-5459A0A20EC2}"/>
              </a:ext>
            </a:extLst>
          </p:cNvPr>
          <p:cNvSpPr/>
          <p:nvPr/>
        </p:nvSpPr>
        <p:spPr>
          <a:xfrm>
            <a:off x="5989183" y="3216648"/>
            <a:ext cx="90000" cy="90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/>
          </a:p>
        </p:txBody>
      </p:sp>
      <p:graphicFrame>
        <p:nvGraphicFramePr>
          <p:cNvPr id="28" name="Tableau 32">
            <a:extLst>
              <a:ext uri="{FF2B5EF4-FFF2-40B4-BE49-F238E27FC236}">
                <a16:creationId xmlns:a16="http://schemas.microsoft.com/office/drawing/2014/main" id="{982C482F-94FF-4922-AD4D-F0F453D73D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3289931"/>
              </p:ext>
            </p:extLst>
          </p:nvPr>
        </p:nvGraphicFramePr>
        <p:xfrm>
          <a:off x="4097791" y="4860843"/>
          <a:ext cx="1576640" cy="7008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66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24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fr-FR" sz="1100" b="1" kern="120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FT SCHWEIZ</a:t>
                      </a:r>
                    </a:p>
                  </a:txBody>
                  <a:tcPr marL="7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lvl="0" algn="l" defTabSz="914400" rtl="0" eaLnBrk="1" fontAlgn="b" latinLnBrk="0" hangingPunct="1"/>
                      <a:r>
                        <a:rPr lang="fr-FR" sz="1000" b="1" i="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Location:</a:t>
                      </a:r>
                      <a:r>
                        <a:rPr lang="fr-FR" sz="1000" b="1" i="0" u="none" strike="noStrike" kern="1200" baseline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000" b="0" i="0" u="none" strike="noStrike" kern="1200" baseline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Hägendorf</a:t>
                      </a:r>
                      <a:r>
                        <a:rPr lang="fr-FR" sz="1000" b="0" i="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(CH)</a:t>
                      </a:r>
                    </a:p>
                  </a:txBody>
                  <a:tcPr marL="7200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lvl="0" algn="l" defTabSz="914400" rtl="0" eaLnBrk="1" fontAlgn="b" latinLnBrk="0" hangingPunct="1"/>
                      <a:r>
                        <a:rPr lang="fr-FR" sz="1000" b="1" i="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Type</a:t>
                      </a:r>
                      <a:r>
                        <a:rPr lang="fr-FR" sz="1000" b="1" i="0" u="none" strike="noStrike" kern="1200" baseline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of site</a:t>
                      </a:r>
                      <a:r>
                        <a:rPr lang="fr-FR" sz="1000" b="1" i="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:</a:t>
                      </a:r>
                      <a:r>
                        <a:rPr lang="fr-FR" sz="1000" b="1" i="0" u="none" strike="noStrike" kern="1200" baseline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000" b="0" i="0" u="none" strike="noStrike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gineering, </a:t>
                      </a:r>
                      <a:r>
                        <a:rPr lang="fr-FR" sz="1000" b="0" i="0" u="none" strike="noStrike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mall</a:t>
                      </a:r>
                      <a:r>
                        <a:rPr lang="fr-FR" sz="1000" b="0" i="0" u="none" strike="noStrike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000" b="0" i="0" u="none" strike="noStrike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nufacturing</a:t>
                      </a:r>
                      <a:endParaRPr lang="fr-FR" sz="1000" b="0" i="0" u="none" strike="noStrike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29" name="Connecteur droit 33">
            <a:extLst>
              <a:ext uri="{FF2B5EF4-FFF2-40B4-BE49-F238E27FC236}">
                <a16:creationId xmlns:a16="http://schemas.microsoft.com/office/drawing/2014/main" id="{C4B5AB02-BCBE-908B-2844-1439B70BFB0D}"/>
              </a:ext>
            </a:extLst>
          </p:cNvPr>
          <p:cNvCxnSpPr>
            <a:cxnSpLocks/>
            <a:stCxn id="27" idx="3"/>
          </p:cNvCxnSpPr>
          <p:nvPr/>
        </p:nvCxnSpPr>
        <p:spPr>
          <a:xfrm flipH="1">
            <a:off x="5663093" y="3293468"/>
            <a:ext cx="339270" cy="1796925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07868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15</Words>
  <Application>Microsoft Office PowerPoint</Application>
  <PresentationFormat>Widescreen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ptos Display</vt:lpstr>
      <vt:lpstr>Arial</vt:lpstr>
      <vt:lpstr>Tahoma</vt:lpstr>
      <vt:lpstr>Office Theme</vt:lpstr>
      <vt:lpstr>think-cell Slide</vt:lpstr>
      <vt:lpstr>Footpr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arbes, Nicolas</dc:creator>
  <cp:lastModifiedBy>Tarbes, Nicolas</cp:lastModifiedBy>
  <cp:revision>1</cp:revision>
  <dcterms:created xsi:type="dcterms:W3CDTF">2024-08-02T08:51:32Z</dcterms:created>
  <dcterms:modified xsi:type="dcterms:W3CDTF">2024-08-02T08:55:11Z</dcterms:modified>
</cp:coreProperties>
</file>